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2" r:id="rId5"/>
  </p:sldMasterIdLst>
  <p:notesMasterIdLst>
    <p:notesMasterId r:id="rId12"/>
  </p:notesMasterIdLst>
  <p:sldIdLst>
    <p:sldId id="300" r:id="rId6"/>
    <p:sldId id="306" r:id="rId7"/>
    <p:sldId id="501" r:id="rId8"/>
    <p:sldId id="504" r:id="rId9"/>
    <p:sldId id="506" r:id="rId10"/>
    <p:sldId id="507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DB6AA"/>
    <a:srgbClr val="ACC3C3"/>
    <a:srgbClr val="E4BC7F"/>
    <a:srgbClr val="C2C382"/>
    <a:srgbClr val="CA9987"/>
    <a:srgbClr val="B49180"/>
    <a:srgbClr val="82A5A5"/>
    <a:srgbClr val="D69B40"/>
    <a:srgbClr val="A3A5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6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3/11/22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349" y="42912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1350" y="25277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669C941-D846-CAA6-9EF5-7B15E34B195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00524" y="2500271"/>
            <a:ext cx="3294850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B1B5BA-3EE2-ED8A-DA67-E8E259990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9084" y="4283752"/>
            <a:ext cx="1916916" cy="191691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402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38" y="2867097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7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8" y="16006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7.bin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1B89DF-EAC8-9D04-A4FE-29DE4D44D1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CDCE3E3-9DDD-720F-B114-D73CEB41A5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234592" y="544512"/>
            <a:ext cx="1422400" cy="368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BDB45C7-CE4D-C529-B1D9-402A7799F83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29719" y="550086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  <p:sldLayoutId id="2147483650" r:id="rId3"/>
    <p:sldLayoutId id="2147483657" r:id="rId4"/>
    <p:sldLayoutId id="2147483655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">
            <a:extLst>
              <a:ext uri="{FF2B5EF4-FFF2-40B4-BE49-F238E27FC236}">
                <a16:creationId xmlns:a16="http://schemas.microsoft.com/office/drawing/2014/main" id="{F8780D8C-BCD7-3B6A-BABD-6AB3B09509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2452" y="1404737"/>
            <a:ext cx="10503288" cy="671713"/>
          </a:xfrm>
        </p:spPr>
        <p:txBody>
          <a:bodyPr>
            <a:noAutofit/>
          </a:bodyPr>
          <a:lstStyle/>
          <a:p>
            <a:pPr algn="l"/>
            <a:r>
              <a:rPr lang="en-ZA" sz="2400" dirty="0"/>
              <a:t>Clarification Meeting: </a:t>
            </a:r>
            <a:r>
              <a:rPr lang="en-US" sz="2400" b="0" i="0" u="none" strike="noStrike" baseline="0" dirty="0"/>
              <a:t>The provision of Security </a:t>
            </a:r>
            <a:r>
              <a:rPr lang="en-US" sz="2400" dirty="0"/>
              <a:t>S</a:t>
            </a:r>
            <a:r>
              <a:rPr lang="en-US" sz="2400" b="0" i="0" u="none" strike="noStrike" baseline="0" dirty="0"/>
              <a:t>ervices for Western Grid</a:t>
            </a:r>
            <a:br>
              <a:rPr lang="en-US" sz="2400" b="0" i="0" u="none" strike="noStrike" baseline="0" dirty="0"/>
            </a:br>
            <a:r>
              <a:rPr lang="en-US" sz="2400" b="0" i="0" u="none" strike="noStrike" baseline="0" dirty="0"/>
              <a:t>Transmission Sites and National Key Point Sites for a period of thirty-six (36) months</a:t>
            </a:r>
            <a:endParaRPr lang="en-US" sz="240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2D802CC3-2305-707A-8CCF-F91E97075E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40238" y="2924226"/>
            <a:ext cx="7295501" cy="365126"/>
          </a:xfrm>
        </p:spPr>
        <p:txBody>
          <a:bodyPr/>
          <a:lstStyle/>
          <a:p>
            <a:r>
              <a:rPr lang="en-ZA" altLang="en-US" sz="20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Presented by: </a:t>
            </a:r>
            <a:r>
              <a:rPr lang="en-ZA" altLang="en-US" sz="2000" b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Brando Cupido</a:t>
            </a: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159DBC06-84E3-A711-22A2-3CA97F6A1F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39589" y="3527025"/>
            <a:ext cx="7296150" cy="327025"/>
          </a:xfrm>
        </p:spPr>
        <p:txBody>
          <a:bodyPr/>
          <a:lstStyle/>
          <a:p>
            <a:r>
              <a:rPr lang="en-US" dirty="0"/>
              <a:t>22/11/2023</a:t>
            </a:r>
          </a:p>
        </p:txBody>
      </p:sp>
      <p:pic>
        <p:nvPicPr>
          <p:cNvPr id="5" name="Picture Placeholder 8">
            <a:extLst>
              <a:ext uri="{FF2B5EF4-FFF2-40B4-BE49-F238E27FC236}">
                <a16:creationId xmlns:a16="http://schemas.microsoft.com/office/drawing/2014/main" id="{EE970600-4651-B326-F065-B80D08048766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85" r="16787" b="2"/>
          <a:stretch/>
        </p:blipFill>
        <p:spPr>
          <a:xfrm>
            <a:off x="895927" y="2419927"/>
            <a:ext cx="3491344" cy="3500583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noFill/>
        </p:spPr>
      </p:pic>
      <p:pic>
        <p:nvPicPr>
          <p:cNvPr id="11" name="Picture Placeholder 9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60EBF61B-43C6-9CF8-71C6-D1C7179271C9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2" r="21888" b="-1"/>
          <a:stretch/>
        </p:blipFill>
        <p:spPr>
          <a:xfrm>
            <a:off x="409575" y="4333875"/>
            <a:ext cx="1809749" cy="1828800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1562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3CC2990-1083-42DA-95CA-A495B9D5B2B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54" b="6054"/>
          <a:stretch/>
        </p:blipFill>
        <p:spPr>
          <a:xfrm>
            <a:off x="0" y="4142874"/>
            <a:ext cx="4114800" cy="245160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8F5BA1A-3800-7439-CF89-B62DDE9B0B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afety Evaluation Requirements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055E42F-0DBF-4DDF-A360-F824CFDDE5D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0" b="10280"/>
          <a:stretch/>
        </p:blipFill>
        <p:spPr>
          <a:xfrm>
            <a:off x="4114800" y="4142874"/>
            <a:ext cx="4114800" cy="2451601"/>
          </a:xfrm>
        </p:spPr>
      </p:pic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E0BF481-0430-81F6-47CD-D426FB0CA54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/>
          <a:srcRect t="2416" b="2416"/>
          <a:stretch>
            <a:fillRect/>
          </a:stretch>
        </p:blipFill>
        <p:spPr>
          <a:xfrm>
            <a:off x="8229600" y="4143375"/>
            <a:ext cx="3962400" cy="245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842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>
          <a:xfrm>
            <a:off x="503583" y="166688"/>
            <a:ext cx="9382539" cy="854075"/>
          </a:xfrm>
        </p:spPr>
        <p:txBody>
          <a:bodyPr/>
          <a:lstStyle/>
          <a:p>
            <a:pPr eaLnBrk="1" hangingPunct="1"/>
            <a:r>
              <a:rPr lang="en-US" dirty="0"/>
              <a:t>Safety Requirements – P</a:t>
            </a:r>
            <a:r>
              <a:rPr lang="en-US" b="0" i="0" u="none" strike="noStrike" baseline="0" dirty="0"/>
              <a:t>rovision of Security </a:t>
            </a:r>
            <a:r>
              <a:rPr lang="en-US" dirty="0"/>
              <a:t>S</a:t>
            </a:r>
            <a:r>
              <a:rPr lang="en-US" b="0" i="0" u="none" strike="noStrike" baseline="0" dirty="0"/>
              <a:t>ervices for Western Grid Transmission Sites and National Key Point Sites </a:t>
            </a:r>
            <a:endParaRPr lang="en-GB" dirty="0"/>
          </a:p>
        </p:txBody>
      </p:sp>
      <p:sp>
        <p:nvSpPr>
          <p:cNvPr id="6" name="Slide Number Placeholder 4"/>
          <p:cNvSpPr txBox="1">
            <a:spLocks noGrp="1"/>
          </p:cNvSpPr>
          <p:nvPr/>
        </p:nvSpPr>
        <p:spPr bwMode="auto">
          <a:xfrm>
            <a:off x="8688388" y="6453189"/>
            <a:ext cx="1651000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30191D81-08BB-4021-9D93-BA965ABE99D6}" type="slidenum">
              <a:rPr lang="en-ZA" sz="1000" b="0">
                <a:solidFill>
                  <a:srgbClr val="83725B"/>
                </a:solidFill>
              </a:rPr>
              <a:pPr algn="r" eaLnBrk="1" hangingPunct="1"/>
              <a:t>3</a:t>
            </a:fld>
            <a:endParaRPr lang="en-ZA" sz="1000" b="0" dirty="0">
              <a:solidFill>
                <a:srgbClr val="83725B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81D80B4-C5F8-428B-900E-1486F59CC8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1189" y="1214439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r>
              <a:rPr lang="en-ZA" sz="1800" dirty="0"/>
              <a:t>Safety prepares and submit safety criteria in line with Security Contract Scope of Works Information</a:t>
            </a:r>
          </a:p>
          <a:p>
            <a:r>
              <a:rPr lang="en-US" sz="1800" dirty="0"/>
              <a:t>OHS Specification and Baseline RA to be read in conjunction with Scope –  The provision of Security Services for Western Grid Transmission Sites and National Key Point Sites for a period of thirty-six (36) months.</a:t>
            </a:r>
            <a:r>
              <a:rPr lang="en-ZA" sz="1800" dirty="0"/>
              <a:t> </a:t>
            </a:r>
            <a:endParaRPr lang="en-ZA" sz="1800" dirty="0">
              <a:solidFill>
                <a:schemeClr val="tx1"/>
              </a:solidFill>
            </a:endParaRPr>
          </a:p>
          <a:p>
            <a:r>
              <a:rPr lang="en-ZA" sz="1800" dirty="0"/>
              <a:t>Evaluate responses of Suppliers and generate evaluation report</a:t>
            </a:r>
          </a:p>
          <a:p>
            <a:r>
              <a:rPr lang="en-ZA" sz="1800" dirty="0"/>
              <a:t>Being contractual requirements safety tender </a:t>
            </a:r>
            <a:r>
              <a:rPr lang="en-ZA" sz="1800" dirty="0" err="1"/>
              <a:t>returnables</a:t>
            </a:r>
            <a:r>
              <a:rPr lang="en-ZA" sz="1800" dirty="0"/>
              <a:t> may have to be re-evaluated and report generated after re-evaluation.</a:t>
            </a:r>
          </a:p>
          <a:p>
            <a:pPr eaLnBrk="1" hangingPunct="1">
              <a:lnSpc>
                <a:spcPct val="150000"/>
              </a:lnSpc>
              <a:spcBef>
                <a:spcPts val="0"/>
              </a:spcBef>
            </a:pPr>
            <a:endParaRPr lang="en-GB" sz="1800" kern="0" dirty="0"/>
          </a:p>
        </p:txBody>
      </p:sp>
    </p:spTree>
    <p:extLst>
      <p:ext uri="{BB962C8B-B14F-4D97-AF65-F5344CB8AC3E}">
        <p14:creationId xmlns:p14="http://schemas.microsoft.com/office/powerpoint/2010/main" val="2645219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>
          <a:xfrm>
            <a:off x="1953885" y="166688"/>
            <a:ext cx="6943749" cy="854075"/>
          </a:xfrm>
        </p:spPr>
        <p:txBody>
          <a:bodyPr/>
          <a:lstStyle/>
          <a:p>
            <a:pPr eaLnBrk="1" hangingPunct="1"/>
            <a:br>
              <a:rPr lang="en-US" dirty="0"/>
            </a:br>
            <a:r>
              <a:rPr lang="en-US" dirty="0"/>
              <a:t>Safety Annexure C1 OHS Tender Evaluation –  OHS Evaluation Criteria</a:t>
            </a:r>
            <a:br>
              <a:rPr lang="en-GB" sz="3200" kern="0" dirty="0"/>
            </a:br>
            <a:endParaRPr lang="en-GB" sz="2800" dirty="0"/>
          </a:p>
        </p:txBody>
      </p:sp>
      <p:sp>
        <p:nvSpPr>
          <p:cNvPr id="6" name="Slide Number Placeholder 4"/>
          <p:cNvSpPr txBox="1">
            <a:spLocks noGrp="1"/>
          </p:cNvSpPr>
          <p:nvPr/>
        </p:nvSpPr>
        <p:spPr bwMode="auto">
          <a:xfrm>
            <a:off x="8688388" y="6453189"/>
            <a:ext cx="1651000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30191D81-08BB-4021-9D93-BA965ABE99D6}" type="slidenum">
              <a:rPr lang="en-ZA" sz="1000" b="0">
                <a:solidFill>
                  <a:srgbClr val="83725B"/>
                </a:solidFill>
              </a:rPr>
              <a:pPr algn="r" eaLnBrk="1" hangingPunct="1"/>
              <a:t>4</a:t>
            </a:fld>
            <a:endParaRPr lang="en-ZA" sz="1000" b="0" dirty="0">
              <a:solidFill>
                <a:srgbClr val="83725B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81D80B4-C5F8-428B-900E-1486F59CC8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1189" y="1020763"/>
            <a:ext cx="8378825" cy="5238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r>
              <a:rPr lang="en-US" sz="1400" dirty="0"/>
              <a:t>Annexure C1 - OHS Tender Evaluation - OHS Evaluation Criteria:</a:t>
            </a:r>
          </a:p>
          <a:p>
            <a:r>
              <a:rPr lang="en-ZA" sz="12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nderer’s / Supplier’s name: </a:t>
            </a:r>
            <a:r>
              <a:rPr lang="en-Z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……………………………..</a:t>
            </a:r>
            <a:r>
              <a:rPr lang="en-ZA" sz="12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Tender Ref number: </a:t>
            </a:r>
            <a:r>
              <a:rPr lang="en-Z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……………………………….</a:t>
            </a:r>
          </a:p>
          <a:p>
            <a:pPr marL="0" indent="0">
              <a:buNone/>
            </a:pPr>
            <a:r>
              <a:rPr lang="en-ZA" sz="12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Scope of work: </a:t>
            </a:r>
            <a:r>
              <a:rPr lang="en-Z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………………………………</a:t>
            </a:r>
            <a:endParaRPr lang="en-Z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600" dirty="0"/>
          </a:p>
          <a:p>
            <a:endParaRPr lang="en-GB" sz="1800" kern="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FFD2493-12DD-4DE5-811E-4C42E368F2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6666010"/>
              </p:ext>
            </p:extLst>
          </p:nvPr>
        </p:nvGraphicFramePr>
        <p:xfrm>
          <a:off x="2039939" y="2001078"/>
          <a:ext cx="8220075" cy="4189303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417356">
                  <a:extLst>
                    <a:ext uri="{9D8B030D-6E8A-4147-A177-3AD203B41FA5}">
                      <a16:colId xmlns:a16="http://schemas.microsoft.com/office/drawing/2014/main" val="4017303833"/>
                    </a:ext>
                  </a:extLst>
                </a:gridCol>
                <a:gridCol w="4301882">
                  <a:extLst>
                    <a:ext uri="{9D8B030D-6E8A-4147-A177-3AD203B41FA5}">
                      <a16:colId xmlns:a16="http://schemas.microsoft.com/office/drawing/2014/main" val="2571791749"/>
                    </a:ext>
                  </a:extLst>
                </a:gridCol>
                <a:gridCol w="810573">
                  <a:extLst>
                    <a:ext uri="{9D8B030D-6E8A-4147-A177-3AD203B41FA5}">
                      <a16:colId xmlns:a16="http://schemas.microsoft.com/office/drawing/2014/main" val="2367263603"/>
                    </a:ext>
                  </a:extLst>
                </a:gridCol>
                <a:gridCol w="2690264">
                  <a:extLst>
                    <a:ext uri="{9D8B030D-6E8A-4147-A177-3AD203B41FA5}">
                      <a16:colId xmlns:a16="http://schemas.microsoft.com/office/drawing/2014/main" val="809723390"/>
                    </a:ext>
                  </a:extLst>
                </a:gridCol>
              </a:tblGrid>
              <a:tr h="88403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 dirty="0">
                          <a:effectLst/>
                        </a:rPr>
                        <a:t>Ref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 dirty="0">
                          <a:effectLst/>
                        </a:rPr>
                        <a:t>OHS Tender Returnable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Submission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Y = Yes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N= No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Comment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25226485"/>
                  </a:ext>
                </a:extLst>
              </a:tr>
              <a:tr h="6230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Annexure B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Is the acknowledgement of Eskom's OHS legal and other requirements form signed and submitted by the tenderer?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184225"/>
                  </a:ext>
                </a:extLst>
              </a:tr>
              <a:tr h="7798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>
                          <a:effectLst/>
                        </a:rPr>
                        <a:t>2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ealth and Safety Plan</a:t>
                      </a: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must 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dress the project /scope of work OHS risk(s) and aligned with  the health and safety specification or requirements)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91343992"/>
                  </a:ext>
                </a:extLst>
              </a:tr>
              <a:tr h="15683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>
                          <a:effectLst/>
                        </a:rPr>
                        <a:t>3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ing for Health and Safety management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as the tenderer submitted detailed costing for OHS (the cost should be broken down not provided as a lump sum).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he costing must be based on the overall scope of work/service to be performed;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he scope of work and the risk assessment may serve as a guideline.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24267233"/>
                  </a:ext>
                </a:extLst>
              </a:tr>
              <a:tr h="239625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dirty="0">
                          <a:effectLst/>
                        </a:rPr>
                        <a:t>Recommendation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Recommended /Not Recommended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167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5092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>
          <a:xfrm>
            <a:off x="1953885" y="166688"/>
            <a:ext cx="6943749" cy="854075"/>
          </a:xfrm>
        </p:spPr>
        <p:txBody>
          <a:bodyPr/>
          <a:lstStyle/>
          <a:p>
            <a:pPr eaLnBrk="1" hangingPunct="1"/>
            <a:r>
              <a:rPr lang="en-US" dirty="0"/>
              <a:t>Safety Continued Annexure C1 OHS Tender Evaluation –  OHS Evaluation Criteria</a:t>
            </a:r>
            <a:endParaRPr lang="en-GB" dirty="0"/>
          </a:p>
        </p:txBody>
      </p:sp>
      <p:sp>
        <p:nvSpPr>
          <p:cNvPr id="6" name="Slide Number Placeholder 4"/>
          <p:cNvSpPr txBox="1">
            <a:spLocks noGrp="1"/>
          </p:cNvSpPr>
          <p:nvPr/>
        </p:nvSpPr>
        <p:spPr bwMode="auto">
          <a:xfrm>
            <a:off x="8688388" y="6453189"/>
            <a:ext cx="1651000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30191D81-08BB-4021-9D93-BA965ABE99D6}" type="slidenum">
              <a:rPr lang="en-ZA" sz="1000" b="0">
                <a:solidFill>
                  <a:srgbClr val="83725B"/>
                </a:solidFill>
              </a:rPr>
              <a:pPr algn="r" eaLnBrk="1" hangingPunct="1"/>
              <a:t>5</a:t>
            </a:fld>
            <a:endParaRPr lang="en-ZA" sz="1000" b="0" dirty="0">
              <a:solidFill>
                <a:srgbClr val="83725B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81D80B4-C5F8-428B-900E-1486F59CC8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1189" y="1214439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r>
              <a:rPr lang="en-US" sz="1600" dirty="0"/>
              <a:t>Annexure C1 - OHS Tender Evaluation - OHS Evaluation Criteria</a:t>
            </a:r>
            <a:endParaRPr lang="en-GB" sz="1800" kern="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FFD2493-12DD-4DE5-811E-4C42E368F2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03363"/>
              </p:ext>
            </p:extLst>
          </p:nvPr>
        </p:nvGraphicFramePr>
        <p:xfrm>
          <a:off x="2039939" y="1552132"/>
          <a:ext cx="8220075" cy="461705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417356">
                  <a:extLst>
                    <a:ext uri="{9D8B030D-6E8A-4147-A177-3AD203B41FA5}">
                      <a16:colId xmlns:a16="http://schemas.microsoft.com/office/drawing/2014/main" val="4017303833"/>
                    </a:ext>
                  </a:extLst>
                </a:gridCol>
                <a:gridCol w="4301882">
                  <a:extLst>
                    <a:ext uri="{9D8B030D-6E8A-4147-A177-3AD203B41FA5}">
                      <a16:colId xmlns:a16="http://schemas.microsoft.com/office/drawing/2014/main" val="2571791749"/>
                    </a:ext>
                  </a:extLst>
                </a:gridCol>
                <a:gridCol w="810573">
                  <a:extLst>
                    <a:ext uri="{9D8B030D-6E8A-4147-A177-3AD203B41FA5}">
                      <a16:colId xmlns:a16="http://schemas.microsoft.com/office/drawing/2014/main" val="2367263603"/>
                    </a:ext>
                  </a:extLst>
                </a:gridCol>
                <a:gridCol w="2690264">
                  <a:extLst>
                    <a:ext uri="{9D8B030D-6E8A-4147-A177-3AD203B41FA5}">
                      <a16:colId xmlns:a16="http://schemas.microsoft.com/office/drawing/2014/main" val="809723390"/>
                    </a:ext>
                  </a:extLst>
                </a:gridCol>
              </a:tblGrid>
              <a:tr h="8697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 dirty="0">
                          <a:effectLst/>
                        </a:rPr>
                        <a:t>Ref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 dirty="0">
                          <a:effectLst/>
                        </a:rPr>
                        <a:t>OHS Tender Returnable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Submission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Y = Yes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N= No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sng">
                          <a:effectLst/>
                        </a:rPr>
                        <a:t>Comment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25226485"/>
                  </a:ext>
                </a:extLst>
              </a:tr>
              <a:tr h="7969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4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b="1" dirty="0">
                          <a:effectLst/>
                        </a:rPr>
                        <a:t>Baseline OHS Risk Assessment  (BRA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dirty="0">
                          <a:effectLst/>
                        </a:rPr>
                        <a:t>Identification, assessment and management of OHS risks related to the scope of work. The methodology used for the risk assessment must be provided together with the BRA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184225"/>
                  </a:ext>
                </a:extLst>
              </a:tr>
              <a:tr h="79885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ZA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Valid Letter of Good Standing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(COIDA or equivalent)</a:t>
                      </a:r>
                      <a:endParaRPr lang="en-ZA" sz="1100" dirty="0">
                        <a:effectLst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91343992"/>
                  </a:ext>
                </a:extLst>
              </a:tr>
              <a:tr h="79885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6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HS policy signed by CEO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 submitted policy must comply to OHS Act Section 7 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u="none" strike="noStrike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24267233"/>
                  </a:ext>
                </a:extLst>
              </a:tr>
              <a:tr h="9809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7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HS Competency 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Consider scope of work, risks, OHS plan and applicability) CV’s and qualifications / training competency certificates  (List competencies and related resources in place in relation to scope of work)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67399338"/>
                  </a:ext>
                </a:extLst>
              </a:tr>
              <a:tr h="245475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US" sz="1100">
                          <a:effectLst/>
                        </a:rPr>
                        <a:t>Recommendation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  <a:tabLst>
                          <a:tab pos="252095" algn="l"/>
                          <a:tab pos="575945" algn="l"/>
                          <a:tab pos="828040" algn="l"/>
                          <a:tab pos="1332230" algn="l"/>
                          <a:tab pos="1583690" algn="l"/>
                          <a:tab pos="1835785" algn="l"/>
                          <a:tab pos="2087880" algn="l"/>
                          <a:tab pos="2339975" algn="l"/>
                          <a:tab pos="2592070" algn="l"/>
                          <a:tab pos="2844165" algn="l"/>
                        </a:tabLst>
                      </a:pPr>
                      <a:r>
                        <a:rPr lang="en-ZA" sz="1100" dirty="0">
                          <a:effectLst/>
                        </a:rPr>
                        <a:t>Recommended /Not Recommended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167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636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sky, outdoor, outdoor object, pylon&#10;&#10;Description automatically generated">
            <a:extLst>
              <a:ext uri="{FF2B5EF4-FFF2-40B4-BE49-F238E27FC236}">
                <a16:creationId xmlns:a16="http://schemas.microsoft.com/office/drawing/2014/main" id="{E52D4B84-5A16-A5D7-D8D4-35577D95B7F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42874"/>
            <a:ext cx="4114800" cy="2451601"/>
          </a:xfrm>
        </p:spPr>
      </p:pic>
      <p:pic>
        <p:nvPicPr>
          <p:cNvPr id="9" name="Picture Placeholder 8" descr="A picture containing sky, outdoor, road, day&#10;&#10;Description automatically generated">
            <a:extLst>
              <a:ext uri="{FF2B5EF4-FFF2-40B4-BE49-F238E27FC236}">
                <a16:creationId xmlns:a16="http://schemas.microsoft.com/office/drawing/2014/main" id="{E2BAB38C-DB54-C022-09C7-2F434A64A65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1" name="Picture Placeholder 10" descr="A picture containing outdoor, sky, water, nature&#10;&#10;Description automatically generated">
            <a:extLst>
              <a:ext uri="{FF2B5EF4-FFF2-40B4-BE49-F238E27FC236}">
                <a16:creationId xmlns:a16="http://schemas.microsoft.com/office/drawing/2014/main" id="{2DB24FDD-ABF4-FF22-2CE5-E4695BC30B1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1D8005-B39D-9B34-40A4-615519BB45B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70" y="1231012"/>
            <a:ext cx="5764695" cy="18851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40994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allery_x0020_Keywords xmlns="b066638b-8533-4687-a48b-8877f492106b" xsi:nil="true"/>
    <ImageCreateDate xmlns="9AA987DC-C9A7-4495-B0EB-A7EB0F9343F3" xsi:nil="true"/>
    <PublishingExpirationDate xmlns="http://schemas.microsoft.com/sharepoint/v3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B0A6D8BFE48B5B4C98C9B506E18E4C4F" ma:contentTypeVersion="2" ma:contentTypeDescription="Upload an image." ma:contentTypeScope="" ma:versionID="faf5921d99471c51c746d233a2595df0">
  <xsd:schema xmlns:xsd="http://www.w3.org/2001/XMLSchema" xmlns:xs="http://www.w3.org/2001/XMLSchema" xmlns:p="http://schemas.microsoft.com/office/2006/metadata/properties" xmlns:ns1="http://schemas.microsoft.com/sharepoint/v3" xmlns:ns2="9AA987DC-C9A7-4495-B0EB-A7EB0F9343F3" xmlns:ns3="http://schemas.microsoft.com/sharepoint/v3/fields" xmlns:ns4="b066638b-8533-4687-a48b-8877f492106b" targetNamespace="http://schemas.microsoft.com/office/2006/metadata/properties" ma:root="true" ma:fieldsID="83d4262b44be4079de954f019704b229" ns1:_="" ns2:_="" ns3:_="" ns4:_="">
    <xsd:import namespace="http://schemas.microsoft.com/sharepoint/v3"/>
    <xsd:import namespace="9AA987DC-C9A7-4495-B0EB-A7EB0F9343F3"/>
    <xsd:import namespace="http://schemas.microsoft.com/sharepoint/v3/fields"/>
    <xsd:import namespace="b066638b-8533-4687-a48b-8877f492106b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Gallery_x0020_Keywo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A987DC-C9A7-4495-B0EB-A7EB0F9343F3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66638b-8533-4687-a48b-8877f492106b" elementFormDefault="qualified">
    <xsd:import namespace="http://schemas.microsoft.com/office/2006/documentManagement/types"/>
    <xsd:import namespace="http://schemas.microsoft.com/office/infopath/2007/PartnerControls"/>
    <xsd:element name="Gallery_x0020_Keywords" ma:index="29" nillable="true" ma:displayName="Gallery Keywords" ma:internalName="Gallery_x0020_Keywords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0325F2-1199-4A7E-B87D-734C0A3EB286}">
  <ds:schemaRefs>
    <ds:schemaRef ds:uri="http://schemas.microsoft.com/office/2006/metadata/properties"/>
    <ds:schemaRef ds:uri="http://schemas.microsoft.com/office/infopath/2007/PartnerControls"/>
    <ds:schemaRef ds:uri="b066638b-8533-4687-a48b-8877f492106b"/>
    <ds:schemaRef ds:uri="9AA987DC-C9A7-4495-B0EB-A7EB0F9343F3"/>
    <ds:schemaRef ds:uri="http://schemas.microsoft.com/sharepoint/v3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D4C14A18-89E5-4E51-A111-2EDA3AAE8F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AA987DC-C9A7-4495-B0EB-A7EB0F9343F3"/>
    <ds:schemaRef ds:uri="http://schemas.microsoft.com/sharepoint/v3/fields"/>
    <ds:schemaRef ds:uri="b066638b-8533-4687-a48b-8877f49210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A031EA-53D5-474F-8205-0E1513F0960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</TotalTime>
  <Words>457</Words>
  <Application>Microsoft Office PowerPoint</Application>
  <PresentationFormat>Widescreen</PresentationFormat>
  <Paragraphs>6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ourier New</vt:lpstr>
      <vt:lpstr>Symbol</vt:lpstr>
      <vt:lpstr>Wingdings</vt:lpstr>
      <vt:lpstr>Office Theme</vt:lpstr>
      <vt:lpstr>Content Slide Master</vt:lpstr>
      <vt:lpstr>think-cell Slide</vt:lpstr>
      <vt:lpstr>Clarification Meeting: The provision of Security Services for Western Grid Transmission Sites and National Key Point Sites for a period of thirty-six (36) months</vt:lpstr>
      <vt:lpstr>Safety Evaluation Requirements</vt:lpstr>
      <vt:lpstr>Safety Requirements – Provision of Security Services for Western Grid Transmission Sites and National Key Point Sites </vt:lpstr>
      <vt:lpstr> Safety Annexure C1 OHS Tender Evaluation –  OHS Evaluation Criteria </vt:lpstr>
      <vt:lpstr>Safety Continued Annexure C1 OHS Tender Evaluation –  OHS Evaluation Criteria</vt:lpstr>
      <vt:lpstr>PowerPoint Presentat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Brando Cupido</cp:lastModifiedBy>
  <cp:revision>39</cp:revision>
  <dcterms:created xsi:type="dcterms:W3CDTF">2020-01-06T09:48:40Z</dcterms:created>
  <dcterms:modified xsi:type="dcterms:W3CDTF">2023-11-22T07:5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B0A6D8BFE48B5B4C98C9B506E18E4C4F</vt:lpwstr>
  </property>
</Properties>
</file>